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0F-44A8-BAB8-96D7FDD9E74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E0F-44A8-BAB8-96D7FDD9E74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E0F-44A8-BAB8-96D7FDD9E74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4</c:v>
                </c:pt>
                <c:pt idx="1">
                  <c:v>5</c:v>
                </c:pt>
                <c:pt idx="2">
                  <c:v>4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E0F-44A8-BAB8-96D7FDD9E7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92138271"/>
        <c:axId val="1"/>
      </c:barChart>
      <c:catAx>
        <c:axId val="10921382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14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6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2138271"/>
        <c:crosses val="autoZero"/>
        <c:crossBetween val="between"/>
      </c:valAx>
      <c:spPr>
        <a:noFill/>
        <a:ln w="25370">
          <a:noFill/>
        </a:ln>
      </c:spPr>
    </c:plotArea>
    <c:legend>
      <c:legendPos val="b"/>
      <c:layout>
        <c:manualLayout>
          <c:xMode val="edge"/>
          <c:yMode val="edge"/>
          <c:x val="0.11410390745289602"/>
          <c:y val="0.92172936329978616"/>
          <c:w val="0.80297063903281518"/>
          <c:h val="6.861475648877224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348">
                <a:solidFill>
                  <a:schemeClr val="accen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BF01-459E-9FBB-38F2E4F7A7C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348">
                <a:solidFill>
                  <a:schemeClr val="accent2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BF01-459E-9FBB-38F2E4F7A7C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348">
                <a:solidFill>
                  <a:schemeClr val="accent3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BF01-459E-9FBB-38F2E4F7A7C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348">
                <a:solidFill>
                  <a:schemeClr val="accent4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BF01-459E-9FBB-38F2E4F7A7C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7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0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6</c:v>
                </c:pt>
                <c:pt idx="1">
                  <c:v>0.3</c:v>
                </c:pt>
                <c:pt idx="2">
                  <c:v>0.2</c:v>
                </c:pt>
                <c:pt idx="3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F01-459E-9FBB-38F2E4F7A7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8F2F00-CD53-5A98-8D4B-562CE941B3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631371F-B337-D7F8-D220-B81B40F0AA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31371F-B337-D7F8-D220-B81B40F0AA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7B09DC-BBF5-73C5-C242-6CA1BD369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Column / Pi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289E450-110F-0730-FD88-C1B8565967A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8" name="Chart 8">
            <a:extLst>
              <a:ext uri="{FF2B5EF4-FFF2-40B4-BE49-F238E27FC236}">
                <a16:creationId xmlns:a16="http://schemas.microsoft.com/office/drawing/2014/main" id="{DFE14288-52E8-8615-0DA5-B9BF29736FB5}"/>
              </a:ext>
            </a:extLst>
          </p:cNvPr>
          <p:cNvGraphicFramePr>
            <a:graphicFrameLocks/>
          </p:cNvGraphicFramePr>
          <p:nvPr/>
        </p:nvGraphicFramePr>
        <p:xfrm>
          <a:off x="419099" y="1031875"/>
          <a:ext cx="5513387" cy="479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Chart 26">
            <a:extLst>
              <a:ext uri="{FF2B5EF4-FFF2-40B4-BE49-F238E27FC236}">
                <a16:creationId xmlns:a16="http://schemas.microsoft.com/office/drawing/2014/main" id="{29F2C1D5-45D1-67FD-1659-3AD405DB1F8C}"/>
              </a:ext>
            </a:extLst>
          </p:cNvPr>
          <p:cNvGraphicFramePr>
            <a:graphicFrameLocks/>
          </p:cNvGraphicFramePr>
          <p:nvPr/>
        </p:nvGraphicFramePr>
        <p:xfrm>
          <a:off x="6097588" y="1217112"/>
          <a:ext cx="5791200" cy="4327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331351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6</TotalTime>
  <Words>5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Stacked Column / P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84</cp:revision>
  <dcterms:created xsi:type="dcterms:W3CDTF">2021-03-31T02:49:57Z</dcterms:created>
  <dcterms:modified xsi:type="dcterms:W3CDTF">2025-10-16T11:31:17Z</dcterms:modified>
  <cp:category/>
</cp:coreProperties>
</file>